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9" r:id="rId2"/>
    <p:sldId id="269" r:id="rId3"/>
    <p:sldId id="278" r:id="rId4"/>
    <p:sldId id="260" r:id="rId5"/>
    <p:sldId id="271" r:id="rId6"/>
    <p:sldId id="279" r:id="rId7"/>
    <p:sldId id="261" r:id="rId8"/>
    <p:sldId id="270" r:id="rId9"/>
    <p:sldId id="280" r:id="rId10"/>
    <p:sldId id="262" r:id="rId11"/>
    <p:sldId id="272" r:id="rId12"/>
    <p:sldId id="281" r:id="rId13"/>
    <p:sldId id="277" r:id="rId14"/>
  </p:sldIdLst>
  <p:sldSz cx="9906000" cy="6858000" type="A4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A98C"/>
    <a:srgbClr val="2084C5"/>
    <a:srgbClr val="F6A800"/>
    <a:srgbClr val="CC071E"/>
    <a:srgbClr val="CFD1D2"/>
    <a:srgbClr val="9C9E9F"/>
    <a:srgbClr val="646567"/>
    <a:srgbClr val="000000"/>
    <a:srgbClr val="C7DDF2"/>
    <a:srgbClr val="8EBA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486" autoAdjust="0"/>
  </p:normalViewPr>
  <p:slideViewPr>
    <p:cSldViewPr>
      <p:cViewPr varScale="1">
        <p:scale>
          <a:sx n="86" d="100"/>
          <a:sy n="86" d="100"/>
        </p:scale>
        <p:origin x="-102" y="-26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C69B06-EB19-4199-BB7D-35FC05A70CAA}" type="datetimeFigureOut">
              <a:rPr lang="de-DE" smtClean="0"/>
              <a:t>22.06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822F3-89C5-4639-8535-CBC3C272C05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4313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822F3-89C5-4639-8535-CBC3C272C05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8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57005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emf"/><Relationship Id="rId12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5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emf"/><Relationship Id="rId11" Type="http://schemas.openxmlformats.org/officeDocument/2006/relationships/image" Target="../media/image26.emf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2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emf"/><Relationship Id="rId11" Type="http://schemas.openxmlformats.org/officeDocument/2006/relationships/image" Target="../media/image20.emf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4381053" y="1238225"/>
            <a:ext cx="5324475" cy="3990975"/>
            <a:chOff x="4953000" y="1052735"/>
            <a:chExt cx="5324475" cy="3990975"/>
          </a:xfrm>
        </p:grpSpPr>
        <p:pic>
          <p:nvPicPr>
            <p:cNvPr id="30" name="Picture 5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3000" y="1052735"/>
              <a:ext cx="5324475" cy="3990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</p:pic>
        <p:sp>
          <p:nvSpPr>
            <p:cNvPr id="31" name="Rechteck 11"/>
            <p:cNvSpPr/>
            <p:nvPr/>
          </p:nvSpPr>
          <p:spPr bwMode="auto">
            <a:xfrm>
              <a:off x="4953000" y="1052735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381053" y="1238225"/>
            <a:ext cx="5324475" cy="3990975"/>
            <a:chOff x="4304928" y="878185"/>
            <a:chExt cx="5324475" cy="3990975"/>
          </a:xfrm>
        </p:grpSpPr>
        <p:pic>
          <p:nvPicPr>
            <p:cNvPr id="4153" name="Picture 57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87818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echteck 11"/>
            <p:cNvSpPr/>
            <p:nvPr/>
          </p:nvSpPr>
          <p:spPr bwMode="auto">
            <a:xfrm>
              <a:off x="4348361" y="2780928"/>
              <a:ext cx="576064" cy="2071036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1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1.5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</a:t>
            </a:r>
            <a:r>
              <a:rPr lang="en-US" dirty="0" smtClean="0"/>
              <a:t>200µm/</a:t>
            </a:r>
            <a:r>
              <a:rPr lang="en-US" dirty="0" err="1" smtClean="0"/>
              <a:t>vc</a:t>
            </a:r>
            <a:r>
              <a:rPr lang="en-US" dirty="0" smtClean="0"/>
              <a:t> </a:t>
            </a:r>
            <a:r>
              <a:rPr lang="en-US" dirty="0"/>
              <a:t>= </a:t>
            </a:r>
            <a:r>
              <a:rPr lang="en-US" dirty="0" smtClean="0"/>
              <a:t>100m/min)</a:t>
            </a:r>
            <a:br>
              <a:rPr lang="en-US" dirty="0" smtClean="0"/>
            </a:br>
            <a:r>
              <a:rPr lang="en-US" dirty="0" smtClean="0"/>
              <a:t>Position 200 mm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/>
              <p:cNvSpPr txBox="1"/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 smtClean="0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95,47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feld 1"/>
          <p:cNvSpPr txBox="1"/>
          <p:nvPr/>
        </p:nvSpPr>
        <p:spPr>
          <a:xfrm>
            <a:off x="6285148" y="5569495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1.37%</a:t>
            </a: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 smtClean="0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98,15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blipFill rotWithShape="1">
                <a:blip r:embed="rId10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Gerade Verbindung 15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" name="Gerade Verbindung 5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2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2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50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4</m:t>
                      </m:r>
                    </m:oMath>
                  </m:oMathPara>
                </a14:m>
                <a:endParaRPr lang="en-US" sz="1400" b="0" dirty="0" smtClean="0"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25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1.5 </m:t>
                      </m:r>
                      <m:r>
                        <a:rPr lang="en-US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9" name="Textfeld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1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feld 21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distribution</a:t>
            </a:r>
            <a:endParaRPr lang="en-US" sz="1600" dirty="0"/>
          </a:p>
        </p:txBody>
      </p:sp>
      <p:sp>
        <p:nvSpPr>
          <p:cNvPr id="23" name="Textfeld 22"/>
          <p:cNvSpPr txBox="1"/>
          <p:nvPr/>
        </p:nvSpPr>
        <p:spPr>
          <a:xfrm>
            <a:off x="4304928" y="908720"/>
            <a:ext cx="5601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[°C] – Regression and simulation</a:t>
            </a:r>
            <a:endParaRPr lang="en-US" sz="1600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56412" y="1289152"/>
            <a:ext cx="5324475" cy="3990975"/>
            <a:chOff x="56412" y="1289152"/>
            <a:chExt cx="5324475" cy="3990975"/>
          </a:xfrm>
        </p:grpSpPr>
        <p:grpSp>
          <p:nvGrpSpPr>
            <p:cNvPr id="7" name="Gruppieren 6"/>
            <p:cNvGrpSpPr/>
            <p:nvPr/>
          </p:nvGrpSpPr>
          <p:grpSpPr>
            <a:xfrm>
              <a:off x="56412" y="1289152"/>
              <a:ext cx="5324475" cy="3990975"/>
              <a:chOff x="56412" y="1289152"/>
              <a:chExt cx="5324475" cy="3990975"/>
            </a:xfrm>
          </p:grpSpPr>
          <p:pic>
            <p:nvPicPr>
              <p:cNvPr id="21" name="Picture 45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412" y="1289152"/>
                <a:ext cx="5324475" cy="39909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" name="Rechteck 3"/>
              <p:cNvSpPr/>
              <p:nvPr/>
            </p:nvSpPr>
            <p:spPr bwMode="auto">
              <a:xfrm>
                <a:off x="3440832" y="3760598"/>
                <a:ext cx="1465363" cy="522778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26" name="Gruppieren 25"/>
            <p:cNvGrpSpPr/>
            <p:nvPr/>
          </p:nvGrpSpPr>
          <p:grpSpPr>
            <a:xfrm>
              <a:off x="3239957" y="3610181"/>
              <a:ext cx="1569027" cy="430887"/>
              <a:chOff x="3311965" y="5387192"/>
              <a:chExt cx="1569027" cy="430887"/>
            </a:xfrm>
          </p:grpSpPr>
          <p:sp>
            <p:nvSpPr>
              <p:cNvPr id="27" name="Textfeld 26"/>
              <p:cNvSpPr txBox="1"/>
              <p:nvPr/>
            </p:nvSpPr>
            <p:spPr>
              <a:xfrm>
                <a:off x="3656856" y="5387192"/>
                <a:ext cx="12241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Calibri" panose="020F0502020204030204" pitchFamily="34" charset="0"/>
                  </a:rPr>
                  <a:t>Rake face</a:t>
                </a:r>
              </a:p>
              <a:p>
                <a:r>
                  <a:rPr lang="en-US" sz="1100" dirty="0" smtClean="0">
                    <a:latin typeface="Calibri" panose="020F0502020204030204" pitchFamily="34" charset="0"/>
                  </a:rPr>
                  <a:t>Clearance face</a:t>
                </a:r>
                <a:endParaRPr lang="en-US" sz="1100" dirty="0">
                  <a:latin typeface="Calibri" panose="020F0502020204030204" pitchFamily="34" charset="0"/>
                </a:endParaRPr>
              </a:p>
            </p:txBody>
          </p:sp>
          <p:cxnSp>
            <p:nvCxnSpPr>
              <p:cNvPr id="28" name="Gerade Verbindung 27"/>
              <p:cNvCxnSpPr/>
              <p:nvPr/>
            </p:nvCxnSpPr>
            <p:spPr bwMode="auto">
              <a:xfrm>
                <a:off x="3311965" y="5516337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2084C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" name="Gerade Verbindung 31"/>
              <p:cNvCxnSpPr/>
              <p:nvPr/>
            </p:nvCxnSpPr>
            <p:spPr bwMode="auto">
              <a:xfrm>
                <a:off x="3311965" y="5679754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ECA98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57677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190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Gruppieren 25"/>
          <p:cNvGrpSpPr/>
          <p:nvPr/>
        </p:nvGrpSpPr>
        <p:grpSpPr>
          <a:xfrm>
            <a:off x="4381053" y="1238225"/>
            <a:ext cx="5324475" cy="3990975"/>
            <a:chOff x="-1383704" y="1268760"/>
            <a:chExt cx="5324475" cy="3990975"/>
          </a:xfrm>
        </p:grpSpPr>
        <p:pic>
          <p:nvPicPr>
            <p:cNvPr id="27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83704" y="1268760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hteck 11"/>
            <p:cNvSpPr/>
            <p:nvPr/>
          </p:nvSpPr>
          <p:spPr bwMode="auto">
            <a:xfrm>
              <a:off x="-1383704" y="1268760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4381053" y="1238225"/>
            <a:ext cx="5324475" cy="3990975"/>
            <a:chOff x="4304928" y="1238225"/>
            <a:chExt cx="5324475" cy="3990975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hteck 14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6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2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300µm/</a:t>
            </a:r>
            <a:r>
              <a:rPr lang="en-US" dirty="0" err="1"/>
              <a:t>vc</a:t>
            </a:r>
            <a:r>
              <a:rPr lang="en-US" dirty="0"/>
              <a:t> = </a:t>
            </a:r>
            <a:r>
              <a:rPr lang="en-US" dirty="0" smtClean="0"/>
              <a:t>150m/min</a:t>
            </a:r>
            <a:r>
              <a:rPr lang="en-US" dirty="0"/>
              <a:t>)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/>
              <p:cNvSpPr txBox="1"/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93,61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7" name="Textfeld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/>
          <p:cNvSpPr txBox="1"/>
          <p:nvPr/>
        </p:nvSpPr>
        <p:spPr>
          <a:xfrm>
            <a:off x="6285148" y="5588219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6.35%</a:t>
            </a: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/>
              <p:cNvSpPr txBox="1"/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74,95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6" name="Textfeld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Gerade Verbindung 16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</m:t>
                                      </m:r>
                                      <m:r>
                                        <a:rPr lang="de-DE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3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1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55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5</m:t>
                      </m:r>
                    </m:oMath>
                  </m:oMathPara>
                </a14:m>
                <a:endParaRPr lang="de-DE" sz="1400" b="0" i="1" dirty="0" smtClean="0">
                  <a:latin typeface="Cambria Math"/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35</m:t>
                      </m:r>
                    </m:oMath>
                  </m:oMathPara>
                </a14:m>
                <a:endParaRPr lang="de-DE" sz="1400" b="0" i="1" dirty="0" smtClean="0">
                  <a:latin typeface="Cambria Math"/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 </m:t>
                      </m:r>
                      <m:r>
                        <a:rPr lang="de-DE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0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feld 4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</a:t>
            </a:r>
            <a:r>
              <a:rPr lang="en-US" sz="1600" dirty="0"/>
              <a:t>distribution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4543072" y="908720"/>
            <a:ext cx="500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– Regression and simulation</a:t>
            </a:r>
            <a:endParaRPr lang="en-US" sz="1600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56456" y="1282293"/>
            <a:ext cx="5324475" cy="3990975"/>
            <a:chOff x="56456" y="1282293"/>
            <a:chExt cx="5324475" cy="3990975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56456" y="1282293"/>
              <a:ext cx="5324475" cy="3990975"/>
              <a:chOff x="56456" y="1282293"/>
              <a:chExt cx="5324475" cy="3990975"/>
            </a:xfrm>
          </p:grpSpPr>
          <p:pic>
            <p:nvPicPr>
              <p:cNvPr id="12316" name="Picture 28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456" y="1282293"/>
                <a:ext cx="5324475" cy="39909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" name="Rechteck 8"/>
              <p:cNvSpPr/>
              <p:nvPr/>
            </p:nvSpPr>
            <p:spPr bwMode="auto">
              <a:xfrm>
                <a:off x="3368824" y="3789040"/>
                <a:ext cx="1512168" cy="504056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3239957" y="3610181"/>
              <a:ext cx="1569027" cy="430887"/>
              <a:chOff x="3311965" y="5387192"/>
              <a:chExt cx="1569027" cy="430887"/>
            </a:xfrm>
          </p:grpSpPr>
          <p:sp>
            <p:nvSpPr>
              <p:cNvPr id="3" name="Textfeld 2"/>
              <p:cNvSpPr txBox="1"/>
              <p:nvPr/>
            </p:nvSpPr>
            <p:spPr>
              <a:xfrm>
                <a:off x="3656856" y="5387192"/>
                <a:ext cx="12241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Calibri" panose="020F0502020204030204" pitchFamily="34" charset="0"/>
                  </a:rPr>
                  <a:t>Rake face</a:t>
                </a:r>
              </a:p>
              <a:p>
                <a:r>
                  <a:rPr lang="en-US" sz="1100" dirty="0" smtClean="0">
                    <a:latin typeface="Calibri" panose="020F0502020204030204" pitchFamily="34" charset="0"/>
                  </a:rPr>
                  <a:t>Clearance face</a:t>
                </a:r>
                <a:endParaRPr lang="en-US" sz="1100" dirty="0">
                  <a:latin typeface="Calibri" panose="020F0502020204030204" pitchFamily="34" charset="0"/>
                </a:endParaRPr>
              </a:p>
            </p:txBody>
          </p:sp>
          <p:cxnSp>
            <p:nvCxnSpPr>
              <p:cNvPr id="8" name="Gerade Verbindung 7"/>
              <p:cNvCxnSpPr/>
              <p:nvPr/>
            </p:nvCxnSpPr>
            <p:spPr bwMode="auto">
              <a:xfrm>
                <a:off x="3311965" y="5516337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2084C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" name="Gerade Verbindung 28"/>
              <p:cNvCxnSpPr/>
              <p:nvPr/>
            </p:nvCxnSpPr>
            <p:spPr bwMode="auto">
              <a:xfrm>
                <a:off x="3311965" y="5679754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ECA98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228389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261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4381053" y="1238225"/>
            <a:ext cx="5324475" cy="3990975"/>
            <a:chOff x="4556743" y="1394685"/>
            <a:chExt cx="5324475" cy="3990975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743" y="139468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Rechteck 11"/>
            <p:cNvSpPr/>
            <p:nvPr/>
          </p:nvSpPr>
          <p:spPr bwMode="auto">
            <a:xfrm>
              <a:off x="4556743" y="1394685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381053" y="1238225"/>
            <a:ext cx="5324475" cy="3990975"/>
            <a:chOff x="4304928" y="1238225"/>
            <a:chExt cx="5324475" cy="3990975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hteck 9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623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isothermal </a:t>
            </a:r>
            <a:r>
              <a:rPr lang="en-US" dirty="0" smtClean="0"/>
              <a:t>lines – VP46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4" name="Textfeld 3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159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 among heat sources along the rake face</a:t>
            </a:r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1196752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201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786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ieren 12"/>
          <p:cNvGrpSpPr/>
          <p:nvPr/>
        </p:nvGrpSpPr>
        <p:grpSpPr>
          <a:xfrm>
            <a:off x="4381053" y="1238225"/>
            <a:ext cx="5324475" cy="3990975"/>
            <a:chOff x="-2965822" y="1772816"/>
            <a:chExt cx="5324475" cy="3990975"/>
          </a:xfrm>
        </p:grpSpPr>
        <p:pic>
          <p:nvPicPr>
            <p:cNvPr id="14" name="Picture 61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965822" y="1772816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hteck 11"/>
            <p:cNvSpPr/>
            <p:nvPr/>
          </p:nvSpPr>
          <p:spPr bwMode="auto">
            <a:xfrm>
              <a:off x="-2965822" y="1772816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381053" y="1238225"/>
            <a:ext cx="5324475" cy="3990975"/>
            <a:chOff x="4304928" y="1238225"/>
            <a:chExt cx="5324475" cy="3990975"/>
          </a:xfrm>
        </p:grpSpPr>
        <p:pic>
          <p:nvPicPr>
            <p:cNvPr id="17" name="Picture 10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Rechteck 5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93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iginal isothermal lines – VP41</a:t>
            </a:r>
            <a:endParaRPr lang="en-US" dirty="0"/>
          </a:p>
        </p:txBody>
      </p:sp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6" name="Textfeld 5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5731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411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4381053" y="1238225"/>
            <a:ext cx="5324475" cy="3990975"/>
            <a:chOff x="-163685" y="1340768"/>
            <a:chExt cx="5324475" cy="3990975"/>
          </a:xfrm>
        </p:grpSpPr>
        <p:pic>
          <p:nvPicPr>
            <p:cNvPr id="30" name="Picture 1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3685" y="1340768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Rechteck 11"/>
            <p:cNvSpPr/>
            <p:nvPr/>
          </p:nvSpPr>
          <p:spPr bwMode="auto">
            <a:xfrm>
              <a:off x="-163685" y="1340768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4381053" y="1238225"/>
            <a:ext cx="5324475" cy="3990975"/>
            <a:chOff x="4304928" y="1238225"/>
            <a:chExt cx="5324475" cy="3990975"/>
          </a:xfrm>
        </p:grpSpPr>
        <p:pic>
          <p:nvPicPr>
            <p:cNvPr id="20" name="Picture 11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Rechteck 20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5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1.7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200µm/</a:t>
            </a:r>
            <a:r>
              <a:rPr lang="en-US" dirty="0" err="1"/>
              <a:t>vc</a:t>
            </a:r>
            <a:r>
              <a:rPr lang="en-US" dirty="0"/>
              <a:t> = </a:t>
            </a:r>
            <a:r>
              <a:rPr lang="en-US" dirty="0" smtClean="0"/>
              <a:t>150m/min)</a:t>
            </a:r>
            <a:br>
              <a:rPr lang="en-US" dirty="0" smtClean="0"/>
            </a:br>
            <a:r>
              <a:rPr lang="en-US" dirty="0" smtClean="0"/>
              <a:t>Position 200 mm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/>
              <p:cNvSpPr txBox="1"/>
              <p:nvPr/>
            </p:nvSpPr>
            <p:spPr>
              <a:xfrm>
                <a:off x="6177136" y="5204575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05,38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04575"/>
                <a:ext cx="2448272" cy="315984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/>
              <p:cNvSpPr txBox="1"/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05,16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feld 12"/>
          <p:cNvSpPr txBox="1"/>
          <p:nvPr/>
        </p:nvSpPr>
        <p:spPr>
          <a:xfrm>
            <a:off x="6285148" y="5520559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0.11%</a:t>
            </a:r>
            <a:endParaRPr lang="de-DE" sz="1400" dirty="0"/>
          </a:p>
        </p:txBody>
      </p:sp>
      <p:cxnSp>
        <p:nvCxnSpPr>
          <p:cNvPr id="14" name="Gerade Verbindung 13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" name="Gerade Verbindung 14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2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2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50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4</m:t>
                      </m:r>
                    </m:oMath>
                  </m:oMathPara>
                </a14:m>
                <a:endParaRPr lang="en-US" sz="1400" b="0" dirty="0" smtClean="0"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25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.7 </m:t>
                      </m:r>
                      <m:r>
                        <a:rPr lang="de-DE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0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feld 26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</a:t>
            </a:r>
            <a:r>
              <a:rPr lang="en-US" sz="1600" dirty="0"/>
              <a:t>distribution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543072" y="908720"/>
            <a:ext cx="500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– Regression and simulation</a:t>
            </a:r>
            <a:endParaRPr lang="en-US" sz="1600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56412" y="1289152"/>
            <a:ext cx="5324475" cy="3990975"/>
            <a:chOff x="56412" y="1289152"/>
            <a:chExt cx="5324475" cy="3990975"/>
          </a:xfrm>
        </p:grpSpPr>
        <p:grpSp>
          <p:nvGrpSpPr>
            <p:cNvPr id="4" name="Gruppieren 3"/>
            <p:cNvGrpSpPr/>
            <p:nvPr/>
          </p:nvGrpSpPr>
          <p:grpSpPr>
            <a:xfrm>
              <a:off x="56412" y="1289152"/>
              <a:ext cx="5324475" cy="3990975"/>
              <a:chOff x="56412" y="1289152"/>
              <a:chExt cx="5324475" cy="3990975"/>
            </a:xfrm>
          </p:grpSpPr>
          <p:pic>
            <p:nvPicPr>
              <p:cNvPr id="23" name="Picture 104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412" y="1289152"/>
                <a:ext cx="5324475" cy="39909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" name="Rechteck 2"/>
              <p:cNvSpPr/>
              <p:nvPr/>
            </p:nvSpPr>
            <p:spPr bwMode="auto">
              <a:xfrm>
                <a:off x="3357807" y="3778023"/>
                <a:ext cx="1336265" cy="504056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3239957" y="3610181"/>
              <a:ext cx="1569027" cy="430887"/>
              <a:chOff x="3311965" y="5387192"/>
              <a:chExt cx="1569027" cy="430887"/>
            </a:xfrm>
          </p:grpSpPr>
          <p:sp>
            <p:nvSpPr>
              <p:cNvPr id="26" name="Textfeld 25"/>
              <p:cNvSpPr txBox="1"/>
              <p:nvPr/>
            </p:nvSpPr>
            <p:spPr>
              <a:xfrm>
                <a:off x="3656856" y="5387192"/>
                <a:ext cx="12241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Calibri" panose="020F0502020204030204" pitchFamily="34" charset="0"/>
                  </a:rPr>
                  <a:t>Rake face</a:t>
                </a:r>
              </a:p>
              <a:p>
                <a:r>
                  <a:rPr lang="en-US" sz="1100" dirty="0" smtClean="0">
                    <a:latin typeface="Calibri" panose="020F0502020204030204" pitchFamily="34" charset="0"/>
                  </a:rPr>
                  <a:t>Clearance face</a:t>
                </a:r>
                <a:endParaRPr lang="en-US" sz="1100" dirty="0">
                  <a:latin typeface="Calibri" panose="020F0502020204030204" pitchFamily="34" charset="0"/>
                </a:endParaRPr>
              </a:p>
            </p:txBody>
          </p:sp>
          <p:cxnSp>
            <p:nvCxnSpPr>
              <p:cNvPr id="32" name="Gerade Verbindung 31"/>
              <p:cNvCxnSpPr/>
              <p:nvPr/>
            </p:nvCxnSpPr>
            <p:spPr bwMode="auto">
              <a:xfrm>
                <a:off x="3311965" y="5516337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2084C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3" name="Gerade Verbindung 32"/>
              <p:cNvCxnSpPr/>
              <p:nvPr/>
            </p:nvCxnSpPr>
            <p:spPr bwMode="auto">
              <a:xfrm>
                <a:off x="3311965" y="5679754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ECA98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197509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646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uppieren 15"/>
          <p:cNvGrpSpPr/>
          <p:nvPr/>
        </p:nvGrpSpPr>
        <p:grpSpPr>
          <a:xfrm>
            <a:off x="4381053" y="1238225"/>
            <a:ext cx="5324475" cy="3990975"/>
            <a:chOff x="4546985" y="1318526"/>
            <a:chExt cx="5324475" cy="3990975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85" y="1318526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Rechteck 11"/>
            <p:cNvSpPr/>
            <p:nvPr/>
          </p:nvSpPr>
          <p:spPr bwMode="auto">
            <a:xfrm>
              <a:off x="4546985" y="1318526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381053" y="1238225"/>
            <a:ext cx="5324475" cy="3990975"/>
            <a:chOff x="4304928" y="1238225"/>
            <a:chExt cx="5324475" cy="3990975"/>
          </a:xfrm>
        </p:grpSpPr>
        <p:pic>
          <p:nvPicPr>
            <p:cNvPr id="9" name="Picture 8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echteck 11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948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isothermal </a:t>
            </a:r>
            <a:r>
              <a:rPr lang="en-US" dirty="0" smtClean="0"/>
              <a:t>lines – VP45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4" name="Textfeld 3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22426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923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4381053" y="1238225"/>
            <a:ext cx="5324475" cy="3990975"/>
            <a:chOff x="-178308" y="1372762"/>
            <a:chExt cx="5324475" cy="3990975"/>
          </a:xfrm>
        </p:grpSpPr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8308" y="1372762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Rechteck 11"/>
            <p:cNvSpPr/>
            <p:nvPr/>
          </p:nvSpPr>
          <p:spPr bwMode="auto">
            <a:xfrm>
              <a:off x="-178308" y="1372762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4159678" y="461447"/>
                  </a:lnTo>
                  <a:lnTo>
                    <a:pt x="694411" y="719699"/>
                  </a:lnTo>
                  <a:lnTo>
                    <a:pt x="688801" y="3569486"/>
                  </a:lnTo>
                  <a:lnTo>
                    <a:pt x="3291756" y="3569486"/>
                  </a:lnTo>
                  <a:lnTo>
                    <a:pt x="4699820" y="2402644"/>
                  </a:lnTo>
                  <a:lnTo>
                    <a:pt x="4746886" y="1706463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4381053" y="1238225"/>
            <a:ext cx="5324475" cy="3990975"/>
            <a:chOff x="4304928" y="1238225"/>
            <a:chExt cx="5324475" cy="3990975"/>
          </a:xfrm>
        </p:grpSpPr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hteck 14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/>
              <p:cNvSpPr txBox="1"/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80,7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2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1.8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</a:t>
            </a:r>
            <a:r>
              <a:rPr lang="en-US" dirty="0" smtClean="0"/>
              <a:t>300µm/</a:t>
            </a:r>
            <a:r>
              <a:rPr lang="en-US" dirty="0" err="1" smtClean="0"/>
              <a:t>vc</a:t>
            </a:r>
            <a:r>
              <a:rPr lang="en-US" dirty="0" smtClean="0"/>
              <a:t> </a:t>
            </a:r>
            <a:r>
              <a:rPr lang="en-US" dirty="0"/>
              <a:t>= </a:t>
            </a:r>
            <a:r>
              <a:rPr lang="en-US" dirty="0" smtClean="0"/>
              <a:t>100m/min)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6285148" y="5545184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2.53%</a:t>
            </a: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/>
              <p:cNvSpPr txBox="1"/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85,27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Gerade Verbindung 15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</m:t>
                                      </m:r>
                                      <m:r>
                                        <a:rPr lang="de-DE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1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40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4</m:t>
                      </m:r>
                    </m:oMath>
                  </m:oMathPara>
                </a14:m>
                <a:endParaRPr lang="en-US" sz="1400" b="0" dirty="0" smtClean="0"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4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.8 </m:t>
                      </m:r>
                      <m:r>
                        <a:rPr lang="de-DE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0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feld 26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</a:t>
            </a:r>
            <a:r>
              <a:rPr lang="en-US" sz="1600" dirty="0"/>
              <a:t>distribution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543072" y="908720"/>
            <a:ext cx="500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– Regression and simulation</a:t>
            </a:r>
            <a:endParaRPr lang="en-US" sz="1600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56456" y="1288199"/>
            <a:ext cx="5324475" cy="3990975"/>
            <a:chOff x="56456" y="1288199"/>
            <a:chExt cx="5324475" cy="3990975"/>
          </a:xfrm>
        </p:grpSpPr>
        <p:grpSp>
          <p:nvGrpSpPr>
            <p:cNvPr id="6" name="Gruppieren 5"/>
            <p:cNvGrpSpPr/>
            <p:nvPr/>
          </p:nvGrpSpPr>
          <p:grpSpPr>
            <a:xfrm>
              <a:off x="56456" y="1288199"/>
              <a:ext cx="5324475" cy="3990975"/>
              <a:chOff x="56456" y="1288199"/>
              <a:chExt cx="5324475" cy="3990975"/>
            </a:xfrm>
          </p:grpSpPr>
          <p:pic>
            <p:nvPicPr>
              <p:cNvPr id="21" name="Picture 29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456" y="1288199"/>
                <a:ext cx="5324475" cy="39909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" name="Rechteck 3"/>
              <p:cNvSpPr/>
              <p:nvPr/>
            </p:nvSpPr>
            <p:spPr bwMode="auto">
              <a:xfrm>
                <a:off x="3274782" y="3900005"/>
                <a:ext cx="1408273" cy="504056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32" name="Gruppieren 31"/>
            <p:cNvGrpSpPr/>
            <p:nvPr/>
          </p:nvGrpSpPr>
          <p:grpSpPr>
            <a:xfrm>
              <a:off x="3239957" y="3610181"/>
              <a:ext cx="1569027" cy="430887"/>
              <a:chOff x="3311965" y="5387192"/>
              <a:chExt cx="1569027" cy="430887"/>
            </a:xfrm>
          </p:grpSpPr>
          <p:sp>
            <p:nvSpPr>
              <p:cNvPr id="33" name="Textfeld 32"/>
              <p:cNvSpPr txBox="1"/>
              <p:nvPr/>
            </p:nvSpPr>
            <p:spPr>
              <a:xfrm>
                <a:off x="3656856" y="5387192"/>
                <a:ext cx="12241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Calibri" panose="020F0502020204030204" pitchFamily="34" charset="0"/>
                  </a:rPr>
                  <a:t>Rake face</a:t>
                </a:r>
              </a:p>
              <a:p>
                <a:r>
                  <a:rPr lang="en-US" sz="1100" dirty="0" smtClean="0">
                    <a:latin typeface="Calibri" panose="020F0502020204030204" pitchFamily="34" charset="0"/>
                  </a:rPr>
                  <a:t>Clearance face</a:t>
                </a:r>
                <a:endParaRPr lang="en-US" sz="1100" dirty="0">
                  <a:latin typeface="Calibri" panose="020F0502020204030204" pitchFamily="34" charset="0"/>
                </a:endParaRPr>
              </a:p>
            </p:txBody>
          </p:sp>
          <p:cxnSp>
            <p:nvCxnSpPr>
              <p:cNvPr id="34" name="Gerade Verbindung 33"/>
              <p:cNvCxnSpPr/>
              <p:nvPr/>
            </p:nvCxnSpPr>
            <p:spPr bwMode="auto">
              <a:xfrm>
                <a:off x="3311965" y="5516337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2084C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5" name="Gerade Verbindung 34"/>
              <p:cNvCxnSpPr/>
              <p:nvPr/>
            </p:nvCxnSpPr>
            <p:spPr bwMode="auto">
              <a:xfrm>
                <a:off x="3311965" y="5679754"/>
                <a:ext cx="36004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rgbClr val="ECA98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427927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9" name="Objekt 1126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237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uppieren 37"/>
          <p:cNvGrpSpPr/>
          <p:nvPr/>
        </p:nvGrpSpPr>
        <p:grpSpPr>
          <a:xfrm>
            <a:off x="4520952" y="1240147"/>
            <a:ext cx="5324475" cy="3990975"/>
            <a:chOff x="4546985" y="1318526"/>
            <a:chExt cx="5324475" cy="3990975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85" y="1318526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eck 11"/>
            <p:cNvSpPr/>
            <p:nvPr/>
          </p:nvSpPr>
          <p:spPr bwMode="auto">
            <a:xfrm>
              <a:off x="4546985" y="1318526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4520952" y="1240147"/>
            <a:ext cx="5324475" cy="3990975"/>
            <a:chOff x="4304928" y="1238225"/>
            <a:chExt cx="5324475" cy="3990975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4928" y="123822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Rechteck 8"/>
            <p:cNvSpPr/>
            <p:nvPr/>
          </p:nvSpPr>
          <p:spPr bwMode="auto">
            <a:xfrm>
              <a:off x="4304928" y="3140968"/>
              <a:ext cx="648072" cy="208823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38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isothermal </a:t>
            </a:r>
            <a:r>
              <a:rPr lang="en-US" dirty="0" smtClean="0"/>
              <a:t>lines – VP42</a:t>
            </a:r>
            <a:endParaRPr lang="de-DE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5" name="Textfeld 4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6167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ZL</Template>
  <TotalTime>0</TotalTime>
  <Words>499</Words>
  <Application>Microsoft Office PowerPoint</Application>
  <PresentationFormat>A4-Papier (210x297 mm)</PresentationFormat>
  <Paragraphs>74</Paragraphs>
  <Slides>13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5" baseType="lpstr">
      <vt:lpstr>wzl</vt:lpstr>
      <vt:lpstr>think-cell Folie</vt:lpstr>
      <vt:lpstr>Comparison VP41 (lc = 1.5 mm/hsp = 200µm/vc = 100m/min) Position 200 mm</vt:lpstr>
      <vt:lpstr>Position 124 mm - VP41</vt:lpstr>
      <vt:lpstr>Original isothermal lines – VP41</vt:lpstr>
      <vt:lpstr>Comparison VP45 (lc = 1.7 mm/hsp = 200µm/vc = 150m/min) Position 200 mm</vt:lpstr>
      <vt:lpstr>Position 124 mm - VP45</vt:lpstr>
      <vt:lpstr>Original isothermal lines – VP45</vt:lpstr>
      <vt:lpstr>Comparison VP42 (lc = 1.8 mm/hsp = 300µm/vc = 100m/min)</vt:lpstr>
      <vt:lpstr>Position 124 mm - VP42</vt:lpstr>
      <vt:lpstr>Original isothermal lines – VP42</vt:lpstr>
      <vt:lpstr>Comparison VP46 (lc = 2 mm/hsp = 300µm/vc = 150m/min)</vt:lpstr>
      <vt:lpstr>Position 124 mm - VP46</vt:lpstr>
      <vt:lpstr>Original isothermal lines – VP46</vt:lpstr>
      <vt:lpstr>Comparison among heat sources along the rake face</vt:lpstr>
    </vt:vector>
  </TitlesOfParts>
  <Manager/>
  <Company>WZ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rison regression of measurement and simulation_20160621.pptx</dc:title>
  <dc:subject/>
  <dc:creator>Adriana Nunes Chaves Lima</dc:creator>
  <cp:keywords/>
  <dc:description/>
  <cp:lastModifiedBy>Adriana Nunes Chaves Lima</cp:lastModifiedBy>
  <cp:revision>105</cp:revision>
  <cp:lastPrinted>2016-06-09T13:05:58Z</cp:lastPrinted>
  <dcterms:created xsi:type="dcterms:W3CDTF">2016-05-30T11:40:41Z</dcterms:created>
  <dcterms:modified xsi:type="dcterms:W3CDTF">2016-06-22T09:07:43Z</dcterms:modified>
  <cp:category/>
</cp:coreProperties>
</file>